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95" r:id="rId2"/>
    <p:sldId id="311" r:id="rId3"/>
    <p:sldId id="312" r:id="rId4"/>
    <p:sldId id="313" r:id="rId5"/>
    <p:sldId id="314" r:id="rId6"/>
    <p:sldId id="315" r:id="rId7"/>
    <p:sldId id="317" r:id="rId8"/>
    <p:sldId id="320" r:id="rId9"/>
    <p:sldId id="318" r:id="rId10"/>
    <p:sldId id="321" r:id="rId11"/>
    <p:sldId id="319" r:id="rId12"/>
    <p:sldId id="294" r:id="rId13"/>
    <p:sldId id="256" r:id="rId14"/>
    <p:sldId id="282" r:id="rId15"/>
    <p:sldId id="292" r:id="rId16"/>
    <p:sldId id="283" r:id="rId17"/>
    <p:sldId id="284" r:id="rId18"/>
    <p:sldId id="285" r:id="rId19"/>
    <p:sldId id="286" r:id="rId20"/>
    <p:sldId id="287" r:id="rId21"/>
    <p:sldId id="289" r:id="rId22"/>
    <p:sldId id="265" r:id="rId23"/>
    <p:sldId id="263" r:id="rId24"/>
    <p:sldId id="264" r:id="rId25"/>
  </p:sldIdLst>
  <p:sldSz cx="9144000" cy="6858000" type="screen4x3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5A9C"/>
    <a:srgbClr val="4A7B7C"/>
    <a:srgbClr val="336600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5806" autoAdjust="0"/>
  </p:normalViewPr>
  <p:slideViewPr>
    <p:cSldViewPr>
      <p:cViewPr varScale="1">
        <p:scale>
          <a:sx n="106" d="100"/>
          <a:sy n="106" d="100"/>
        </p:scale>
        <p:origin x="270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541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73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3191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1050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90649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86057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0064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131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5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3769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359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131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42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512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1837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535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0776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094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035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946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56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5.04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.gif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2.gi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gif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4896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687673"/>
            <a:ext cx="1954972" cy="1273487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50699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95437" y="3176428"/>
            <a:ext cx="1851820" cy="1170670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8886007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3630017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Existing Device or Service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244367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212976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3573016"/>
            <a:ext cx="0" cy="17567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481710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角丸四角形 21">
            <a:extLst>
              <a:ext uri="{FF2B5EF4-FFF2-40B4-BE49-F238E27FC236}">
                <a16:creationId xmlns:a16="http://schemas.microsoft.com/office/drawing/2014/main" id="{2D2979A0-03A5-4D44-8AF2-484F2D519BB5}"/>
              </a:ext>
            </a:extLst>
          </p:cNvPr>
          <p:cNvSpPr/>
          <p:nvPr/>
        </p:nvSpPr>
        <p:spPr bwMode="auto">
          <a:xfrm>
            <a:off x="4283967" y="1772816"/>
            <a:ext cx="3571063" cy="547586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30" name="角丸四角形 6">
            <a:extLst>
              <a:ext uri="{FF2B5EF4-FFF2-40B4-BE49-F238E27FC236}">
                <a16:creationId xmlns:a16="http://schemas.microsoft.com/office/drawing/2014/main" id="{FA64EAA7-3C7C-4FE0-853B-6D859007BA9B}"/>
              </a:ext>
            </a:extLst>
          </p:cNvPr>
          <p:cNvSpPr/>
          <p:nvPr/>
        </p:nvSpPr>
        <p:spPr bwMode="auto">
          <a:xfrm>
            <a:off x="6772986" y="302095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3" name="角丸四角形 21">
            <a:extLst>
              <a:ext uri="{FF2B5EF4-FFF2-40B4-BE49-F238E27FC236}">
                <a16:creationId xmlns:a16="http://schemas.microsoft.com/office/drawing/2014/main" id="{B516F84E-5765-49FF-AB03-403BF6E4E302}"/>
              </a:ext>
            </a:extLst>
          </p:cNvPr>
          <p:cNvSpPr/>
          <p:nvPr/>
        </p:nvSpPr>
        <p:spPr bwMode="auto">
          <a:xfrm>
            <a:off x="4283967" y="1124744"/>
            <a:ext cx="3571064" cy="543726"/>
          </a:xfrm>
          <a:prstGeom prst="roundRect">
            <a:avLst>
              <a:gd name="adj" fmla="val 25084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Behavior Implementation</a:t>
            </a:r>
          </a:p>
        </p:txBody>
      </p:sp>
      <p:sp>
        <p:nvSpPr>
          <p:cNvPr id="28" name="角丸四角形 21">
            <a:extLst>
              <a:ext uri="{FF2B5EF4-FFF2-40B4-BE49-F238E27FC236}">
                <a16:creationId xmlns:a16="http://schemas.microsoft.com/office/drawing/2014/main" id="{3FCC81D8-AD94-4E4E-B449-C868EE9A84C8}"/>
              </a:ext>
            </a:extLst>
          </p:cNvPr>
          <p:cNvSpPr/>
          <p:nvPr/>
        </p:nvSpPr>
        <p:spPr bwMode="auto">
          <a:xfrm>
            <a:off x="4317111" y="2492896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86955554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BC8B4FD-365E-E942-B0B9-374BB36CB8E7}"/>
              </a:ext>
            </a:extLst>
          </p:cNvPr>
          <p:cNvGrpSpPr/>
          <p:nvPr/>
        </p:nvGrpSpPr>
        <p:grpSpPr>
          <a:xfrm>
            <a:off x="107504" y="862719"/>
            <a:ext cx="8928992" cy="5975260"/>
            <a:chOff x="-252536" y="332656"/>
            <a:chExt cx="9721080" cy="6505323"/>
          </a:xfrm>
        </p:grpSpPr>
        <p:sp>
          <p:nvSpPr>
            <p:cNvPr id="122" name="Rectangle 6"/>
            <p:cNvSpPr/>
            <p:nvPr/>
          </p:nvSpPr>
          <p:spPr>
            <a:xfrm>
              <a:off x="1691680" y="4095546"/>
              <a:ext cx="7776864" cy="25738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3" name="Textfeld 162"/>
            <p:cNvSpPr txBox="1"/>
            <p:nvPr/>
          </p:nvSpPr>
          <p:spPr>
            <a:xfrm>
              <a:off x="3356446" y="5157192"/>
              <a:ext cx="14282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Direc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Thing-to-Thing</a:t>
              </a:r>
            </a:p>
            <a:p>
              <a:pPr algn="ctr"/>
              <a:r>
                <a:rPr lang="en-US" sz="1400" b="1" dirty="0">
                  <a:latin typeface="+mj-lt"/>
                </a:rPr>
                <a:t>Interaction</a:t>
              </a:r>
            </a:p>
          </p:txBody>
        </p:sp>
        <p:sp>
          <p:nvSpPr>
            <p:cNvPr id="18" name="角丸四角形 6"/>
            <p:cNvSpPr/>
            <p:nvPr/>
          </p:nvSpPr>
          <p:spPr bwMode="auto">
            <a:xfrm>
              <a:off x="8029682" y="4517447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9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grpSp>
          <p:nvGrpSpPr>
            <p:cNvPr id="20" name="Group 60"/>
            <p:cNvGrpSpPr/>
            <p:nvPr/>
          </p:nvGrpSpPr>
          <p:grpSpPr>
            <a:xfrm>
              <a:off x="8028384" y="4216907"/>
              <a:ext cx="323256" cy="323256"/>
              <a:chOff x="6235706" y="4922175"/>
              <a:chExt cx="268034" cy="268034"/>
            </a:xfrm>
          </p:grpSpPr>
          <p:sp>
            <p:nvSpPr>
              <p:cNvPr id="2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7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28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29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0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1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sp>
          <p:nvSpPr>
            <p:cNvPr id="21" name="Textfeld 126"/>
            <p:cNvSpPr txBox="1"/>
            <p:nvPr/>
          </p:nvSpPr>
          <p:spPr>
            <a:xfrm>
              <a:off x="6355824" y="515719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omplement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Existing Devices</a:t>
              </a:r>
            </a:p>
          </p:txBody>
        </p:sp>
        <p:sp>
          <p:nvSpPr>
            <p:cNvPr id="22" name="Textfeld 126"/>
            <p:cNvSpPr txBox="1"/>
            <p:nvPr/>
          </p:nvSpPr>
          <p:spPr>
            <a:xfrm>
              <a:off x="8518578" y="4727938"/>
              <a:ext cx="277837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>
                  <a:latin typeface="+mj-lt"/>
                </a:rPr>
                <a:t>+</a:t>
              </a:r>
            </a:p>
          </p:txBody>
        </p:sp>
        <p:sp>
          <p:nvSpPr>
            <p:cNvPr id="23" name="Textfeld 126"/>
            <p:cNvSpPr txBox="1"/>
            <p:nvPr/>
          </p:nvSpPr>
          <p:spPr>
            <a:xfrm>
              <a:off x="8731774" y="5127722"/>
              <a:ext cx="490751" cy="2513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900" b="1">
                  <a:latin typeface="+mj-lt"/>
                  <a:cs typeface="Arial" panose="020B0604020202020204" pitchFamily="34" charset="0"/>
                </a:rPr>
                <a:t>Thing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8500290" y="5099062"/>
              <a:ext cx="352881" cy="284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>
                  <a:latin typeface="+mj-lt"/>
                  <a:sym typeface="Symbol"/>
                </a:rPr>
                <a:t></a:t>
              </a:r>
              <a:endParaRPr lang="en-US" sz="1100" b="1">
                <a:latin typeface="+mj-lt"/>
              </a:endParaRPr>
            </a:p>
          </p:txBody>
        </p:sp>
        <p:sp>
          <p:nvSpPr>
            <p:cNvPr id="25" name="Left-Right Arrow 70"/>
            <p:cNvSpPr/>
            <p:nvPr/>
          </p:nvSpPr>
          <p:spPr>
            <a:xfrm>
              <a:off x="6255452" y="476773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grpSp>
          <p:nvGrpSpPr>
            <p:cNvPr id="33" name="Group 35"/>
            <p:cNvGrpSpPr/>
            <p:nvPr/>
          </p:nvGrpSpPr>
          <p:grpSpPr>
            <a:xfrm>
              <a:off x="4948666" y="4195977"/>
              <a:ext cx="324321" cy="324321"/>
              <a:chOff x="6235706" y="4922175"/>
              <a:chExt cx="268034" cy="268034"/>
            </a:xfrm>
          </p:grpSpPr>
          <p:sp>
            <p:nvSpPr>
              <p:cNvPr id="3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35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6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7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8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39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pic>
          <p:nvPicPr>
            <p:cNvPr id="44" name="図 16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902" y="5877272"/>
              <a:ext cx="1469410" cy="739953"/>
            </a:xfrm>
            <a:prstGeom prst="rect">
              <a:avLst/>
            </a:prstGeom>
          </p:spPr>
        </p:pic>
        <p:grpSp>
          <p:nvGrpSpPr>
            <p:cNvPr id="45" name="Gruppieren 145"/>
            <p:cNvGrpSpPr/>
            <p:nvPr/>
          </p:nvGrpSpPr>
          <p:grpSpPr>
            <a:xfrm>
              <a:off x="5573984" y="544034"/>
              <a:ext cx="3096344" cy="4483260"/>
              <a:chOff x="5369713" y="1424798"/>
              <a:chExt cx="3096344" cy="4483260"/>
            </a:xfrm>
          </p:grpSpPr>
          <p:grpSp>
            <p:nvGrpSpPr>
              <p:cNvPr id="46" name="Group 8"/>
              <p:cNvGrpSpPr/>
              <p:nvPr/>
            </p:nvGrpSpPr>
            <p:grpSpPr>
              <a:xfrm>
                <a:off x="5369713" y="1424798"/>
                <a:ext cx="3096344" cy="2860068"/>
                <a:chOff x="5724128" y="404664"/>
                <a:chExt cx="2304256" cy="2232248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4" name="Rectangle 6"/>
                <p:cNvSpPr/>
                <p:nvPr/>
              </p:nvSpPr>
              <p:spPr>
                <a:xfrm>
                  <a:off x="6077378" y="1439094"/>
                  <a:ext cx="1597756" cy="119781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  <p:sp>
              <p:nvSpPr>
                <p:cNvPr id="75" name="Isosceles Triangle 7"/>
                <p:cNvSpPr/>
                <p:nvPr/>
              </p:nvSpPr>
              <p:spPr>
                <a:xfrm>
                  <a:off x="5724128" y="404664"/>
                  <a:ext cx="2304256" cy="103443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latin typeface="+mj-lt"/>
                  </a:endParaRPr>
                </a:p>
              </p:txBody>
            </p:sp>
          </p:grpSp>
          <p:sp>
            <p:nvSpPr>
              <p:cNvPr id="47" name="Textfeld 181"/>
              <p:cNvSpPr txBox="1"/>
              <p:nvPr/>
            </p:nvSpPr>
            <p:spPr>
              <a:xfrm>
                <a:off x="6373284" y="1740059"/>
                <a:ext cx="1089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j-lt"/>
                  </a:rPr>
                  <a:t>Gateway</a:t>
                </a:r>
              </a:p>
            </p:txBody>
          </p:sp>
          <p:sp>
            <p:nvSpPr>
              <p:cNvPr id="48" name="Left-Right Arrow 71"/>
              <p:cNvSpPr/>
              <p:nvPr/>
            </p:nvSpPr>
            <p:spPr>
              <a:xfrm rot="16200000">
                <a:off x="6041848" y="4747325"/>
                <a:ext cx="1752080" cy="569385"/>
              </a:xfrm>
              <a:prstGeom prst="leftRightArrow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grpSp>
            <p:nvGrpSpPr>
              <p:cNvPr id="51" name="Group 42"/>
              <p:cNvGrpSpPr/>
              <p:nvPr/>
            </p:nvGrpSpPr>
            <p:grpSpPr>
              <a:xfrm>
                <a:off x="5962118" y="3212976"/>
                <a:ext cx="324321" cy="324321"/>
                <a:chOff x="6235706" y="4922175"/>
                <a:chExt cx="268034" cy="268034"/>
              </a:xfrm>
            </p:grpSpPr>
            <p:sp>
              <p:nvSpPr>
                <p:cNvPr id="68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9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70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58" name="Group 42"/>
              <p:cNvGrpSpPr/>
              <p:nvPr/>
            </p:nvGrpSpPr>
            <p:grpSpPr>
              <a:xfrm>
                <a:off x="5952357" y="2667492"/>
                <a:ext cx="324321" cy="324321"/>
                <a:chOff x="6235706" y="4922175"/>
                <a:chExt cx="268034" cy="268034"/>
              </a:xfrm>
            </p:grpSpPr>
            <p:sp>
              <p:nvSpPr>
                <p:cNvPr id="62" name="角丸四角形 21"/>
                <p:cNvSpPr/>
                <p:nvPr/>
              </p:nvSpPr>
              <p:spPr bwMode="auto">
                <a:xfrm>
                  <a:off x="6235706" y="4922175"/>
                  <a:ext cx="268034" cy="268034"/>
                </a:xfrm>
                <a:prstGeom prst="foldedCorner">
                  <a:avLst>
                    <a:gd name="adj" fmla="val 20194"/>
                  </a:avLst>
                </a:prstGeom>
                <a:solidFill>
                  <a:srgbClr val="4A7B7C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none" lIns="360000" tIns="216000" rIns="0" bIns="360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ctr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altLang="ja-JP" sz="2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endParaRPr>
                </a:p>
              </p:txBody>
            </p:sp>
            <p:grpSp>
              <p:nvGrpSpPr>
                <p:cNvPr id="63" name="Group 44"/>
                <p:cNvGrpSpPr/>
                <p:nvPr/>
              </p:nvGrpSpPr>
              <p:grpSpPr>
                <a:xfrm>
                  <a:off x="6287492" y="4971265"/>
                  <a:ext cx="164464" cy="169854"/>
                  <a:chOff x="3555853" y="2073413"/>
                  <a:chExt cx="605287" cy="625127"/>
                </a:xfrm>
              </p:grpSpPr>
              <p:sp>
                <p:nvSpPr>
                  <p:cNvPr id="64" name="Isosceles Triangle 45"/>
                  <p:cNvSpPr/>
                  <p:nvPr/>
                </p:nvSpPr>
                <p:spPr>
                  <a:xfrm rot="1800000">
                    <a:off x="3712972" y="2138741"/>
                    <a:ext cx="448168" cy="386349"/>
                  </a:xfrm>
                  <a:prstGeom prst="triangle">
                    <a:avLst/>
                  </a:prstGeom>
                  <a:noFill/>
                  <a:ln w="19050" cap="rnd" cmpd="sng" algn="ctr">
                    <a:solidFill>
                      <a:sysClr val="window" lastClr="FFFFFF"/>
                    </a:solidFill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46"/>
                  <p:cNvSpPr/>
                  <p:nvPr/>
                </p:nvSpPr>
                <p:spPr>
                  <a:xfrm rot="19800000">
                    <a:off x="3944938" y="2073413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Oval 47"/>
                  <p:cNvSpPr/>
                  <p:nvPr/>
                </p:nvSpPr>
                <p:spPr>
                  <a:xfrm rot="19800000">
                    <a:off x="3555853" y="2297519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Oval 48"/>
                  <p:cNvSpPr/>
                  <p:nvPr/>
                </p:nvSpPr>
                <p:spPr>
                  <a:xfrm rot="1800000">
                    <a:off x="3944938" y="2520647"/>
                    <a:ext cx="177895" cy="177893"/>
                  </a:xfrm>
                  <a:prstGeom prst="ellipse">
                    <a:avLst/>
                  </a:prstGeom>
                  <a:solidFill>
                    <a:sysClr val="window" lastClr="FFFFFF"/>
                  </a:solidFill>
                  <a:ln w="25400" cap="rnd" cmpd="sng" algn="ctr">
                    <a:noFill/>
                    <a:prstDash val="solid"/>
                  </a:ln>
                  <a:effectLst/>
                </p:spPr>
                <p:txBody>
                  <a:bodyPr wrap="none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000" b="0" i="0" u="none" strike="noStrike" kern="0" cap="none" spc="0" normalizeH="0" baseline="0">
                      <a:ln>
                        <a:noFill/>
                      </a:ln>
                      <a:solidFill>
                        <a:sysClr val="window" lastClr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59" name="Gerade Verbindung mit Pfeil 58"/>
              <p:cNvCxnSpPr>
                <a:cxnSpLocks/>
              </p:cNvCxnSpPr>
              <p:nvPr/>
            </p:nvCxnSpPr>
            <p:spPr bwMode="auto">
              <a:xfrm flipH="1">
                <a:off x="6286439" y="3302976"/>
                <a:ext cx="176640" cy="9000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Gerade Verbindung mit Pfeil 59"/>
              <p:cNvCxnSpPr>
                <a:cxnSpLocks/>
                <a:endCxn id="62" idx="3"/>
              </p:cNvCxnSpPr>
              <p:nvPr/>
            </p:nvCxnSpPr>
            <p:spPr bwMode="auto">
              <a:xfrm flipH="1" flipV="1">
                <a:off x="6276678" y="2829653"/>
                <a:ext cx="186401" cy="50297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61" name="図 7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02472" y="2056041"/>
                <a:ext cx="1193968" cy="477587"/>
              </a:xfrm>
              <a:prstGeom prst="rect">
                <a:avLst/>
              </a:prstGeom>
            </p:spPr>
          </p:pic>
        </p:grpSp>
        <p:grpSp>
          <p:nvGrpSpPr>
            <p:cNvPr id="77" name="Group 1"/>
            <p:cNvGrpSpPr/>
            <p:nvPr/>
          </p:nvGrpSpPr>
          <p:grpSpPr>
            <a:xfrm>
              <a:off x="435411" y="332656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105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6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7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  <p:sp>
            <p:nvSpPr>
              <p:cNvPr id="108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+mj-lt"/>
                </a:endParaRPr>
              </a:p>
            </p:txBody>
          </p:sp>
        </p:grpSp>
        <p:sp>
          <p:nvSpPr>
            <p:cNvPr id="78" name="Left-Right Arrow 71"/>
            <p:cNvSpPr/>
            <p:nvPr/>
          </p:nvSpPr>
          <p:spPr>
            <a:xfrm rot="16200000">
              <a:off x="1821589" y="3258394"/>
              <a:ext cx="145014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79" name="Left-Right Arrow 73"/>
            <p:cNvSpPr/>
            <p:nvPr/>
          </p:nvSpPr>
          <p:spPr>
            <a:xfrm>
              <a:off x="3563888" y="2132856"/>
              <a:ext cx="244827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80" name="Textfeld 181"/>
            <p:cNvSpPr txBox="1"/>
            <p:nvPr/>
          </p:nvSpPr>
          <p:spPr>
            <a:xfrm>
              <a:off x="1721888" y="65755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Cloud</a:t>
              </a:r>
            </a:p>
          </p:txBody>
        </p:sp>
        <p:grpSp>
          <p:nvGrpSpPr>
            <p:cNvPr id="83" name="Group 42"/>
            <p:cNvGrpSpPr/>
            <p:nvPr/>
          </p:nvGrpSpPr>
          <p:grpSpPr>
            <a:xfrm>
              <a:off x="1629433" y="1879250"/>
              <a:ext cx="324321" cy="324321"/>
              <a:chOff x="6235706" y="4922175"/>
              <a:chExt cx="268034" cy="268034"/>
            </a:xfrm>
          </p:grpSpPr>
          <p:sp>
            <p:nvSpPr>
              <p:cNvPr id="99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1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0" name="Group 42"/>
            <p:cNvGrpSpPr/>
            <p:nvPr/>
          </p:nvGrpSpPr>
          <p:grpSpPr>
            <a:xfrm>
              <a:off x="1619672" y="1333766"/>
              <a:ext cx="324321" cy="324321"/>
              <a:chOff x="6235706" y="4922175"/>
              <a:chExt cx="268034" cy="268034"/>
            </a:xfrm>
          </p:grpSpPr>
          <p:sp>
            <p:nvSpPr>
              <p:cNvPr id="9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9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9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0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91" name="Gerade Verbindung mit Pfeil 90"/>
            <p:cNvCxnSpPr>
              <a:cxnSpLocks/>
            </p:cNvCxnSpPr>
            <p:nvPr/>
          </p:nvCxnSpPr>
          <p:spPr bwMode="auto">
            <a:xfrm flipH="1">
              <a:off x="1953754" y="196925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mit Pfeil 91"/>
            <p:cNvCxnSpPr>
              <a:cxnSpLocks/>
              <a:endCxn id="93" idx="3"/>
            </p:cNvCxnSpPr>
            <p:nvPr/>
          </p:nvCxnSpPr>
          <p:spPr bwMode="auto">
            <a:xfrm flipH="1" flipV="1">
              <a:off x="1943993" y="149592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1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4879" y="2543082"/>
              <a:ext cx="510204" cy="743617"/>
            </a:xfrm>
            <a:prstGeom prst="rect">
              <a:avLst/>
            </a:prstGeom>
          </p:spPr>
        </p:pic>
        <p:sp>
          <p:nvSpPr>
            <p:cNvPr id="112" name="Textfeld 163"/>
            <p:cNvSpPr txBox="1"/>
            <p:nvPr/>
          </p:nvSpPr>
          <p:spPr>
            <a:xfrm>
              <a:off x="-252536" y="4609764"/>
              <a:ext cx="15643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>
                  <a:latin typeface="+mj-lt"/>
                </a:rPr>
                <a:t>Seamless</a:t>
              </a:r>
            </a:p>
            <a:p>
              <a:r>
                <a:rPr lang="en-US" sz="1400" b="1" dirty="0">
                  <a:latin typeface="+mj-lt"/>
                </a:rPr>
                <a:t>Web Integration</a:t>
              </a:r>
            </a:p>
          </p:txBody>
        </p:sp>
        <p:sp>
          <p:nvSpPr>
            <p:cNvPr id="117" name="Left-Right Arrow 70"/>
            <p:cNvSpPr/>
            <p:nvPr/>
          </p:nvSpPr>
          <p:spPr>
            <a:xfrm rot="2700000">
              <a:off x="940293" y="4132929"/>
              <a:ext cx="104455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18" name="Left-Right Arrow 70"/>
            <p:cNvSpPr/>
            <p:nvPr/>
          </p:nvSpPr>
          <p:spPr>
            <a:xfrm rot="18900000">
              <a:off x="941554" y="2974375"/>
              <a:ext cx="1140212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sp>
          <p:nvSpPr>
            <p:cNvPr id="120" name="Textfeld 162"/>
            <p:cNvSpPr txBox="1"/>
            <p:nvPr/>
          </p:nvSpPr>
          <p:spPr>
            <a:xfrm>
              <a:off x="3995936" y="2679247"/>
              <a:ext cx="19155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Remote Access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and Synchronization</a:t>
              </a:r>
            </a:p>
          </p:txBody>
        </p:sp>
        <p:sp>
          <p:nvSpPr>
            <p:cNvPr id="121" name="Textfeld 162"/>
            <p:cNvSpPr txBox="1"/>
            <p:nvPr/>
          </p:nvSpPr>
          <p:spPr>
            <a:xfrm>
              <a:off x="7397776" y="3447288"/>
              <a:ext cx="149470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Integration and</a:t>
              </a:r>
              <a:br>
                <a:rPr lang="en-US" sz="1400" b="1" dirty="0">
                  <a:latin typeface="+mj-lt"/>
                </a:rPr>
              </a:br>
              <a:r>
                <a:rPr lang="en-US" sz="1400" b="1" dirty="0">
                  <a:latin typeface="+mj-lt"/>
                </a:rPr>
                <a:t>Orchestration</a:t>
              </a:r>
            </a:p>
          </p:txBody>
        </p:sp>
        <p:sp>
          <p:nvSpPr>
            <p:cNvPr id="124" name="Left-Right Arrow 70"/>
            <p:cNvSpPr/>
            <p:nvPr/>
          </p:nvSpPr>
          <p:spPr>
            <a:xfrm>
              <a:off x="3203848" y="4748880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000">
                <a:latin typeface="+mj-lt"/>
              </a:endParaRPr>
            </a:p>
          </p:txBody>
        </p:sp>
        <p:pic>
          <p:nvPicPr>
            <p:cNvPr id="139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812360" y="4748880"/>
              <a:ext cx="1008112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4F4A2F0-F524-0E44-B7F0-753DA5B8FFC6}"/>
                </a:ext>
              </a:extLst>
            </p:cNvPr>
            <p:cNvGrpSpPr/>
            <p:nvPr/>
          </p:nvGrpSpPr>
          <p:grpSpPr>
            <a:xfrm>
              <a:off x="2128109" y="1350169"/>
              <a:ext cx="1292399" cy="1358751"/>
              <a:chOff x="2123728" y="1196751"/>
              <a:chExt cx="5112568" cy="3431059"/>
            </a:xfrm>
          </p:grpSpPr>
          <p:sp>
            <p:nvSpPr>
              <p:cNvPr id="123" name="角丸四角形 6">
                <a:extLst>
                  <a:ext uri="{FF2B5EF4-FFF2-40B4-BE49-F238E27FC236}">
                    <a16:creationId xmlns:a16="http://schemas.microsoft.com/office/drawing/2014/main" id="{2899ADC7-2801-384A-8EBA-3552087A3B2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25" name="角丸四角形 21">
                <a:extLst>
                  <a:ext uri="{FF2B5EF4-FFF2-40B4-BE49-F238E27FC236}">
                    <a16:creationId xmlns:a16="http://schemas.microsoft.com/office/drawing/2014/main" id="{973319BE-2675-C946-BF86-8EB822FB9E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26" name="角丸四角形 21">
                <a:extLst>
                  <a:ext uri="{FF2B5EF4-FFF2-40B4-BE49-F238E27FC236}">
                    <a16:creationId xmlns:a16="http://schemas.microsoft.com/office/drawing/2014/main" id="{18B50391-17D6-C645-8F85-0E3A949524F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27" name="角丸四角形 21">
                <a:extLst>
                  <a:ext uri="{FF2B5EF4-FFF2-40B4-BE49-F238E27FC236}">
                    <a16:creationId xmlns:a16="http://schemas.microsoft.com/office/drawing/2014/main" id="{D7BBEBD1-407C-4B4C-BBA8-72AB5088FA85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28" name="角丸四角形 21">
                <a:extLst>
                  <a:ext uri="{FF2B5EF4-FFF2-40B4-BE49-F238E27FC236}">
                    <a16:creationId xmlns:a16="http://schemas.microsoft.com/office/drawing/2014/main" id="{16A39CBA-EB30-FC44-A68F-207E224A6C5A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F63C1EDA-0ECD-BF47-8989-738A8C961DD8}"/>
                </a:ext>
              </a:extLst>
            </p:cNvPr>
            <p:cNvGrpSpPr/>
            <p:nvPr/>
          </p:nvGrpSpPr>
          <p:grpSpPr>
            <a:xfrm>
              <a:off x="6650650" y="1858672"/>
              <a:ext cx="1292399" cy="1358751"/>
              <a:chOff x="2123728" y="1196751"/>
              <a:chExt cx="5112568" cy="3431059"/>
            </a:xfrm>
          </p:grpSpPr>
          <p:sp>
            <p:nvSpPr>
              <p:cNvPr id="130" name="角丸四角形 6">
                <a:extLst>
                  <a:ext uri="{FF2B5EF4-FFF2-40B4-BE49-F238E27FC236}">
                    <a16:creationId xmlns:a16="http://schemas.microsoft.com/office/drawing/2014/main" id="{CD6401EB-BB5E-7D43-A2D1-775B95757697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1" name="角丸四角形 21">
                <a:extLst>
                  <a:ext uri="{FF2B5EF4-FFF2-40B4-BE49-F238E27FC236}">
                    <a16:creationId xmlns:a16="http://schemas.microsoft.com/office/drawing/2014/main" id="{F32588F2-EEEB-B943-B2E3-7B4B2288317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2" name="角丸四角形 21">
                <a:extLst>
                  <a:ext uri="{FF2B5EF4-FFF2-40B4-BE49-F238E27FC236}">
                    <a16:creationId xmlns:a16="http://schemas.microsoft.com/office/drawing/2014/main" id="{65F1B5FA-47A2-3E48-A628-FD86E1CFAA9C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33" name="角丸四角形 21">
                <a:extLst>
                  <a:ext uri="{FF2B5EF4-FFF2-40B4-BE49-F238E27FC236}">
                    <a16:creationId xmlns:a16="http://schemas.microsoft.com/office/drawing/2014/main" id="{BA3C6F50-C511-8248-8C01-0FB7545CD3A6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34" name="角丸四角形 21">
                <a:extLst>
                  <a:ext uri="{FF2B5EF4-FFF2-40B4-BE49-F238E27FC236}">
                    <a16:creationId xmlns:a16="http://schemas.microsoft.com/office/drawing/2014/main" id="{8D53963A-84D7-FF4D-8E11-37BEF4BCC14B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6EC4507-C197-A744-A811-4F5F75A27793}"/>
                </a:ext>
              </a:extLst>
            </p:cNvPr>
            <p:cNvGrpSpPr/>
            <p:nvPr/>
          </p:nvGrpSpPr>
          <p:grpSpPr>
            <a:xfrm>
              <a:off x="1893817" y="4509120"/>
              <a:ext cx="1292399" cy="1358751"/>
              <a:chOff x="2123728" y="1196751"/>
              <a:chExt cx="5112568" cy="3431059"/>
            </a:xfrm>
          </p:grpSpPr>
          <p:sp>
            <p:nvSpPr>
              <p:cNvPr id="136" name="角丸四角形 6">
                <a:extLst>
                  <a:ext uri="{FF2B5EF4-FFF2-40B4-BE49-F238E27FC236}">
                    <a16:creationId xmlns:a16="http://schemas.microsoft.com/office/drawing/2014/main" id="{B21C993F-DFA1-F843-A4E4-3944810C7D46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37" name="角丸四角形 21">
                <a:extLst>
                  <a:ext uri="{FF2B5EF4-FFF2-40B4-BE49-F238E27FC236}">
                    <a16:creationId xmlns:a16="http://schemas.microsoft.com/office/drawing/2014/main" id="{B1C13162-0A60-EC49-9E1F-1BBA31219019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38" name="角丸四角形 21">
                <a:extLst>
                  <a:ext uri="{FF2B5EF4-FFF2-40B4-BE49-F238E27FC236}">
                    <a16:creationId xmlns:a16="http://schemas.microsoft.com/office/drawing/2014/main" id="{78EEE6ED-69F8-8742-A5E8-3C4A7E7F56F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0" name="角丸四角形 21">
                <a:extLst>
                  <a:ext uri="{FF2B5EF4-FFF2-40B4-BE49-F238E27FC236}">
                    <a16:creationId xmlns:a16="http://schemas.microsoft.com/office/drawing/2014/main" id="{3B713D4C-8FF0-C04B-BD18-D89526847B5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1" name="角丸四角形 21">
                <a:extLst>
                  <a:ext uri="{FF2B5EF4-FFF2-40B4-BE49-F238E27FC236}">
                    <a16:creationId xmlns:a16="http://schemas.microsoft.com/office/drawing/2014/main" id="{AA0A66D2-4228-7146-80CF-EEFB089763E1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pic>
          <p:nvPicPr>
            <p:cNvPr id="119" name="Picture 2" descr="http://www.smarthome.com/media/catalog/product/cache/1/image/398x328/9df78eab33525d08d6e5fb8d27136e95/m/o/motion-sensor-hero-shadow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43970" y1="81098" x2="43970" y2="81098"/>
                          <a14:foregroundMark x1="49246" y1="80488" x2="49246" y2="80488"/>
                          <a14:foregroundMark x1="56030" y1="81098" x2="56030" y2="81098"/>
                          <a14:foregroundMark x1="63065" y1="78963" x2="63065" y2="78963"/>
                          <a14:foregroundMark x1="66583" y1="77744" x2="66583" y2="77744"/>
                          <a14:foregroundMark x1="35678" y1="78049" x2="35678" y2="78049"/>
                          <a14:foregroundMark x1="39698" y1="80183" x2="39698" y2="80183"/>
                          <a14:foregroundMark x1="41206" y1="80183" x2="41206" y2="80183"/>
                          <a14:foregroundMark x1="36683" y1="78963" x2="36683" y2="78963"/>
                          <a14:foregroundMark x1="46985" y1="81707" x2="46985" y2="81707"/>
                          <a14:foregroundMark x1="52261" y1="81707" x2="52261" y2="81707"/>
                          <a14:foregroundMark x1="54523" y1="81707" x2="54523" y2="81707"/>
                          <a14:foregroundMark x1="54271" y1="79573" x2="54271" y2="79573"/>
                          <a14:foregroundMark x1="59799" y1="79878" x2="59799" y2="79878"/>
                          <a14:foregroundMark x1="63568" y1="78659" x2="63568" y2="78659"/>
                          <a14:foregroundMark x1="64824" y1="78354" x2="64824" y2="78354"/>
                          <a14:foregroundMark x1="65578" y1="78049" x2="65578" y2="78049"/>
                          <a14:foregroundMark x1="67085" y1="77134" x2="67085" y2="77134"/>
                          <a14:foregroundMark x1="42965" y1="80488" x2="42965" y2="80488"/>
                          <a14:foregroundMark x1="45729" y1="80793" x2="45729" y2="80793"/>
                          <a14:foregroundMark x1="50754" y1="80793" x2="50754" y2="80793"/>
                          <a14:foregroundMark x1="48241" y1="80793" x2="48241" y2="80793"/>
                          <a14:foregroundMark x1="57035" y1="80488" x2="57035" y2="80488"/>
                          <a14:foregroundMark x1="38442" y1="79573" x2="38442" y2="79573"/>
                          <a14:foregroundMark x1="37437" y1="78963" x2="37437" y2="78963"/>
                          <a14:foregroundMark x1="50000" y1="80793" x2="50000" y2="80793"/>
                          <a14:foregroundMark x1="42211" y1="80488" x2="42211" y2="80488"/>
                          <a14:foregroundMark x1="61055" y1="79268" x2="61055" y2="79268"/>
                          <a14:foregroundMark x1="62060" y1="79268" x2="62060" y2="79268"/>
                          <a14:foregroundMark x1="58543" y1="79573" x2="58543" y2="79573"/>
                          <a14:foregroundMark x1="58291" y1="80183" x2="58291" y2="80183"/>
                          <a14:foregroundMark x1="58794" y1="80183" x2="58794" y2="80183"/>
                          <a14:foregroundMark x1="60302" y1="79573" x2="60302" y2="79573"/>
                          <a14:foregroundMark x1="34673" y1="77744" x2="34673" y2="77744"/>
                          <a14:foregroundMark x1="33166" y1="76829" x2="33166" y2="76829"/>
                          <a14:foregroundMark x1="32412" y1="75915" x2="32412" y2="759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979" y="5733256"/>
              <a:ext cx="1340486" cy="1104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35"/>
            <p:cNvGrpSpPr/>
            <p:nvPr/>
          </p:nvGrpSpPr>
          <p:grpSpPr>
            <a:xfrm>
              <a:off x="1911238" y="4197114"/>
              <a:ext cx="324321" cy="324321"/>
              <a:chOff x="6235706" y="4922175"/>
              <a:chExt cx="268034" cy="268034"/>
            </a:xfrm>
          </p:grpSpPr>
          <p:sp>
            <p:nvSpPr>
              <p:cNvPr id="6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7" name="Group 37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8" name="Isosceles Triangle 38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9" name="Oval 39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0" name="Oval 40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  <p:sp>
              <p:nvSpPr>
                <p:cNvPr id="11" name="Oval 41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000">
                    <a:latin typeface="+mj-lt"/>
                  </a:endParaRPr>
                </a:p>
              </p:txBody>
            </p:sp>
          </p:grp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1F9D31BE-68A1-AC4E-99DE-03A7F337E423}"/>
                </a:ext>
              </a:extLst>
            </p:cNvPr>
            <p:cNvGrpSpPr/>
            <p:nvPr/>
          </p:nvGrpSpPr>
          <p:grpSpPr>
            <a:xfrm>
              <a:off x="4932040" y="4509120"/>
              <a:ext cx="1292399" cy="1358751"/>
              <a:chOff x="2123728" y="1196751"/>
              <a:chExt cx="5112568" cy="3431059"/>
            </a:xfrm>
          </p:grpSpPr>
          <p:sp>
            <p:nvSpPr>
              <p:cNvPr id="143" name="角丸四角形 6">
                <a:extLst>
                  <a:ext uri="{FF2B5EF4-FFF2-40B4-BE49-F238E27FC236}">
                    <a16:creationId xmlns:a16="http://schemas.microsoft.com/office/drawing/2014/main" id="{55BF921A-9353-2D43-9B1D-A47484A5B009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44" name="角丸四角形 21">
                <a:extLst>
                  <a:ext uri="{FF2B5EF4-FFF2-40B4-BE49-F238E27FC236}">
                    <a16:creationId xmlns:a16="http://schemas.microsoft.com/office/drawing/2014/main" id="{513DA581-6DB1-2945-88D1-2CF82017020F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45" name="角丸四角形 21">
                <a:extLst>
                  <a:ext uri="{FF2B5EF4-FFF2-40B4-BE49-F238E27FC236}">
                    <a16:creationId xmlns:a16="http://schemas.microsoft.com/office/drawing/2014/main" id="{D3B29F63-4207-7741-B522-E9963423A061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46" name="角丸四角形 21">
                <a:extLst>
                  <a:ext uri="{FF2B5EF4-FFF2-40B4-BE49-F238E27FC236}">
                    <a16:creationId xmlns:a16="http://schemas.microsoft.com/office/drawing/2014/main" id="{618022E1-44C2-5B40-A458-32F256A48EA1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47" name="角丸四角形 21">
                <a:extLst>
                  <a:ext uri="{FF2B5EF4-FFF2-40B4-BE49-F238E27FC236}">
                    <a16:creationId xmlns:a16="http://schemas.microsoft.com/office/drawing/2014/main" id="{2AAC67D1-2616-0944-9EC9-BB9BD46EA71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A303AC7-012B-8B4B-B903-45540DFF9BEE}"/>
                </a:ext>
              </a:extLst>
            </p:cNvPr>
            <p:cNvGrpSpPr/>
            <p:nvPr/>
          </p:nvGrpSpPr>
          <p:grpSpPr>
            <a:xfrm>
              <a:off x="-230451" y="3253038"/>
              <a:ext cx="1292399" cy="1358751"/>
              <a:chOff x="2123728" y="1196751"/>
              <a:chExt cx="5112568" cy="3431059"/>
            </a:xfrm>
          </p:grpSpPr>
          <p:sp>
            <p:nvSpPr>
              <p:cNvPr id="149" name="角丸四角形 6">
                <a:extLst>
                  <a:ext uri="{FF2B5EF4-FFF2-40B4-BE49-F238E27FC236}">
                    <a16:creationId xmlns:a16="http://schemas.microsoft.com/office/drawing/2014/main" id="{98276D38-9565-274C-AC17-74BB704AFC3C}"/>
                  </a:ext>
                </a:extLst>
              </p:cNvPr>
              <p:cNvSpPr/>
              <p:nvPr/>
            </p:nvSpPr>
            <p:spPr bwMode="auto">
              <a:xfrm>
                <a:off x="2123728" y="1196751"/>
                <a:ext cx="5112568" cy="3431059"/>
              </a:xfrm>
              <a:prstGeom prst="roundRect">
                <a:avLst>
                  <a:gd name="adj" fmla="val 5032"/>
                </a:avLst>
              </a:prstGeom>
              <a:solidFill>
                <a:sysClr val="window" lastClr="FFFFFF">
                  <a:lumMod val="50000"/>
                </a:sys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ja-JP" sz="800" b="1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Thing</a:t>
                </a:r>
              </a:p>
            </p:txBody>
          </p:sp>
          <p:sp>
            <p:nvSpPr>
              <p:cNvPr id="150" name="角丸四角形 21">
                <a:extLst>
                  <a:ext uri="{FF2B5EF4-FFF2-40B4-BE49-F238E27FC236}">
                    <a16:creationId xmlns:a16="http://schemas.microsoft.com/office/drawing/2014/main" id="{14E6276F-6F6F-184D-8D5B-C12FA289E94B}"/>
                  </a:ext>
                </a:extLst>
              </p:cNvPr>
              <p:cNvSpPr/>
              <p:nvPr/>
            </p:nvSpPr>
            <p:spPr bwMode="auto">
              <a:xfrm>
                <a:off x="2267744" y="1725517"/>
                <a:ext cx="4824536" cy="574727"/>
              </a:xfrm>
              <a:prstGeom prst="roundRect">
                <a:avLst>
                  <a:gd name="adj" fmla="val 23727"/>
                </a:avLst>
              </a:prstGeom>
              <a:solidFill>
                <a:srgbClr val="005A9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schemeClr val="bg1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Behavior</a:t>
                </a:r>
              </a:p>
            </p:txBody>
          </p:sp>
          <p:sp>
            <p:nvSpPr>
              <p:cNvPr id="151" name="角丸四角形 21">
                <a:extLst>
                  <a:ext uri="{FF2B5EF4-FFF2-40B4-BE49-F238E27FC236}">
                    <a16:creationId xmlns:a16="http://schemas.microsoft.com/office/drawing/2014/main" id="{E3DEED48-7A38-DC4A-8861-F21DF781ABC0}"/>
                  </a:ext>
                </a:extLst>
              </p:cNvPr>
              <p:cNvSpPr/>
              <p:nvPr/>
            </p:nvSpPr>
            <p:spPr bwMode="auto">
              <a:xfrm>
                <a:off x="2267744" y="243726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Interactions</a:t>
                </a:r>
              </a:p>
            </p:txBody>
          </p:sp>
          <p:sp>
            <p:nvSpPr>
              <p:cNvPr id="152" name="角丸四角形 21">
                <a:extLst>
                  <a:ext uri="{FF2B5EF4-FFF2-40B4-BE49-F238E27FC236}">
                    <a16:creationId xmlns:a16="http://schemas.microsoft.com/office/drawing/2014/main" id="{AB4A9856-BA9D-8F4D-A23B-0B0A72F44B07}"/>
                  </a:ext>
                </a:extLst>
              </p:cNvPr>
              <p:cNvSpPr/>
              <p:nvPr/>
            </p:nvSpPr>
            <p:spPr bwMode="auto">
              <a:xfrm>
                <a:off x="2267744" y="3891689"/>
                <a:ext cx="4824536" cy="574726"/>
              </a:xfrm>
              <a:prstGeom prst="roundRect">
                <a:avLst>
                  <a:gd name="adj" fmla="val 25105"/>
                </a:avLst>
              </a:prstGeom>
              <a:solidFill>
                <a:srgbClr val="00B050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Protocol Bindings</a:t>
                </a:r>
              </a:p>
            </p:txBody>
          </p:sp>
          <p:sp>
            <p:nvSpPr>
              <p:cNvPr id="153" name="角丸四角形 21">
                <a:extLst>
                  <a:ext uri="{FF2B5EF4-FFF2-40B4-BE49-F238E27FC236}">
                    <a16:creationId xmlns:a16="http://schemas.microsoft.com/office/drawing/2014/main" id="{5914EDE6-D2AE-FE4D-B79B-302B9E273BE3}"/>
                  </a:ext>
                </a:extLst>
              </p:cNvPr>
              <p:cNvSpPr/>
              <p:nvPr/>
            </p:nvSpPr>
            <p:spPr bwMode="auto">
              <a:xfrm>
                <a:off x="2267744" y="3149018"/>
                <a:ext cx="4824534" cy="574726"/>
              </a:xfrm>
              <a:prstGeom prst="roundRect">
                <a:avLst>
                  <a:gd name="adj" fmla="val 25084"/>
                </a:avLst>
              </a:prstGeom>
              <a:solidFill>
                <a:schemeClr val="accent6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800" kern="0" dirty="0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Security Configur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1444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893302" y="4319003"/>
            <a:ext cx="7143194" cy="236409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13" name="Textfeld 162"/>
          <p:cNvSpPr txBox="1"/>
          <p:nvPr/>
        </p:nvSpPr>
        <p:spPr>
          <a:xfrm>
            <a:off x="3422421" y="5342304"/>
            <a:ext cx="1311838" cy="7632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Direc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ing-to-Thing</a:t>
            </a:r>
          </a:p>
          <a:p>
            <a:pPr algn="ctr"/>
            <a:r>
              <a:rPr lang="en-US" sz="1400" b="1" dirty="0">
                <a:latin typeface="+mj-lt"/>
              </a:rPr>
              <a:t>Interaction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7714875" y="4677649"/>
            <a:ext cx="1093079" cy="124039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407362" y="4919045"/>
            <a:ext cx="296917" cy="296917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177405" y="5342304"/>
            <a:ext cx="1407780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omplement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163935" y="4938712"/>
            <a:ext cx="2551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359759" y="5238198"/>
            <a:ext cx="45076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147137" y="5211873"/>
            <a:ext cx="324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>
                <a:latin typeface="+mj-lt"/>
                <a:sym typeface="Symbol"/>
              </a:rPr>
              <a:t></a:t>
            </a:r>
            <a:endParaRPr lang="en-US" sz="11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085211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4427984" y="4473379"/>
            <a:ext cx="297895" cy="297895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grpSp>
        <p:nvGrpSpPr>
          <p:cNvPr id="46" name="Group 8"/>
          <p:cNvGrpSpPr/>
          <p:nvPr/>
        </p:nvGrpSpPr>
        <p:grpSpPr>
          <a:xfrm>
            <a:off x="5255221" y="1056874"/>
            <a:ext cx="3252150" cy="2627026"/>
            <a:chOff x="5724128" y="404664"/>
            <a:chExt cx="2304256" cy="2232248"/>
          </a:xfrm>
          <a:solidFill>
            <a:schemeClr val="bg1">
              <a:lumMod val="85000"/>
            </a:schemeClr>
          </a:solidFill>
        </p:grpSpPr>
        <p:sp>
          <p:nvSpPr>
            <p:cNvPr id="74" name="Rectangle 6"/>
            <p:cNvSpPr/>
            <p:nvPr/>
          </p:nvSpPr>
          <p:spPr>
            <a:xfrm>
              <a:off x="6077378" y="1439094"/>
              <a:ext cx="1597756" cy="119781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75" name="Isosceles Triangle 7"/>
            <p:cNvSpPr/>
            <p:nvPr/>
          </p:nvSpPr>
          <p:spPr>
            <a:xfrm>
              <a:off x="5724128" y="404664"/>
              <a:ext cx="2304256" cy="103443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47" name="Textfeld 181"/>
          <p:cNvSpPr txBox="1"/>
          <p:nvPr/>
        </p:nvSpPr>
        <p:spPr>
          <a:xfrm>
            <a:off x="6381069" y="1346447"/>
            <a:ext cx="1000453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Edge</a:t>
            </a:r>
          </a:p>
        </p:txBody>
      </p:sp>
      <p:sp>
        <p:nvSpPr>
          <p:cNvPr id="48" name="Left-Right Arrow 71"/>
          <p:cNvSpPr/>
          <p:nvPr/>
        </p:nvSpPr>
        <p:spPr>
          <a:xfrm rot="16200000">
            <a:off x="5999831" y="4185485"/>
            <a:ext cx="176293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51" name="Group 42"/>
          <p:cNvGrpSpPr/>
          <p:nvPr/>
        </p:nvGrpSpPr>
        <p:grpSpPr>
          <a:xfrm>
            <a:off x="6003406" y="2699349"/>
            <a:ext cx="297895" cy="297895"/>
            <a:chOff x="6235706" y="4922175"/>
            <a:chExt cx="268034" cy="268034"/>
          </a:xfrm>
        </p:grpSpPr>
        <p:sp>
          <p:nvSpPr>
            <p:cNvPr id="68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9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70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oup 42"/>
          <p:cNvGrpSpPr/>
          <p:nvPr/>
        </p:nvGrpSpPr>
        <p:grpSpPr>
          <a:xfrm>
            <a:off x="5994440" y="2198312"/>
            <a:ext cx="297895" cy="297895"/>
            <a:chOff x="6235706" y="4922175"/>
            <a:chExt cx="268034" cy="268034"/>
          </a:xfrm>
        </p:grpSpPr>
        <p:sp>
          <p:nvSpPr>
            <p:cNvPr id="62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3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64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Gerade Verbindung mit Pfeil 58"/>
          <p:cNvCxnSpPr>
            <a:cxnSpLocks/>
          </p:cNvCxnSpPr>
          <p:nvPr/>
        </p:nvCxnSpPr>
        <p:spPr bwMode="auto">
          <a:xfrm flipH="1">
            <a:off x="6301301" y="2782016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/>
          <p:cNvCxnSpPr>
            <a:cxnSpLocks/>
            <a:endCxn id="62" idx="3"/>
          </p:cNvCxnSpPr>
          <p:nvPr/>
        </p:nvCxnSpPr>
        <p:spPr bwMode="auto">
          <a:xfrm flipH="1" flipV="1">
            <a:off x="6292335" y="2347260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1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027" y="1694183"/>
            <a:ext cx="1096682" cy="438673"/>
          </a:xfrm>
          <a:prstGeom prst="rect">
            <a:avLst/>
          </a:prstGeom>
        </p:spPr>
      </p:pic>
      <p:grpSp>
        <p:nvGrpSpPr>
          <p:cNvPr id="77" name="Group 1"/>
          <p:cNvGrpSpPr/>
          <p:nvPr/>
        </p:nvGrpSpPr>
        <p:grpSpPr>
          <a:xfrm>
            <a:off x="739396" y="862719"/>
            <a:ext cx="3585840" cy="2447205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2221727" y="3550064"/>
            <a:ext cx="1331981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612960" y="2516236"/>
            <a:ext cx="2248783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921049" y="1161140"/>
            <a:ext cx="1281512" cy="31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Cloud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836127" y="2167360"/>
            <a:ext cx="297895" cy="297895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0" name="Group 42"/>
          <p:cNvGrpSpPr/>
          <p:nvPr/>
        </p:nvGrpSpPr>
        <p:grpSpPr>
          <a:xfrm>
            <a:off x="1827162" y="1782257"/>
            <a:ext cx="297895" cy="297895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cxnSpLocks/>
          </p:cNvCxnSpPr>
          <p:nvPr/>
        </p:nvCxnSpPr>
        <p:spPr bwMode="auto">
          <a:xfrm flipH="1" flipV="1">
            <a:off x="2134023" y="2332694"/>
            <a:ext cx="160603" cy="50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cxnSpLocks/>
            <a:endCxn id="93" idx="3"/>
          </p:cNvCxnSpPr>
          <p:nvPr/>
        </p:nvCxnSpPr>
        <p:spPr bwMode="auto">
          <a:xfrm flipH="1" flipV="1">
            <a:off x="2125057" y="1931205"/>
            <a:ext cx="171213" cy="4619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2" name="Textfeld 163"/>
          <p:cNvSpPr txBox="1"/>
          <p:nvPr/>
        </p:nvSpPr>
        <p:spPr>
          <a:xfrm>
            <a:off x="5072" y="4582407"/>
            <a:ext cx="143687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Seamless</a:t>
            </a:r>
          </a:p>
          <a:p>
            <a:pPr algn="ctr"/>
            <a:r>
              <a:rPr lang="en-US" sz="1400" b="1" dirty="0">
                <a:latin typeface="+mj-lt"/>
              </a:rPr>
              <a:t>Web Integration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1203139" y="4353340"/>
            <a:ext cx="959445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1204298" y="3289187"/>
            <a:ext cx="1047306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sp>
        <p:nvSpPr>
          <p:cNvPr id="120" name="Textfeld 162"/>
          <p:cNvSpPr txBox="1"/>
          <p:nvPr/>
        </p:nvSpPr>
        <p:spPr>
          <a:xfrm>
            <a:off x="3967058" y="2924944"/>
            <a:ext cx="1759504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Remote Access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134457" y="3723566"/>
            <a:ext cx="1372913" cy="5371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Integration and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82257" y="4936417"/>
            <a:ext cx="1592167" cy="522991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00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4F4A2F0-F524-0E44-B7F0-753DA5B8FFC6}"/>
              </a:ext>
            </a:extLst>
          </p:cNvPr>
          <p:cNvGrpSpPr/>
          <p:nvPr/>
        </p:nvGrpSpPr>
        <p:grpSpPr>
          <a:xfrm>
            <a:off x="2294171" y="1797324"/>
            <a:ext cx="1187092" cy="1248038"/>
            <a:chOff x="2123728" y="1196751"/>
            <a:chExt cx="5112568" cy="3431059"/>
          </a:xfrm>
        </p:grpSpPr>
        <p:sp>
          <p:nvSpPr>
            <p:cNvPr id="123" name="角丸四角形 6">
              <a:extLst>
                <a:ext uri="{FF2B5EF4-FFF2-40B4-BE49-F238E27FC236}">
                  <a16:creationId xmlns:a16="http://schemas.microsoft.com/office/drawing/2014/main" id="{2899ADC7-2801-384A-8EBA-3552087A3B2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defRPr/>
              </a:pPr>
              <a:r>
                <a:rPr lang="en-US" altLang="ja-JP" sz="800" b="1" kern="0" dirty="0">
                  <a:solidFill>
                    <a:srgbClr val="000000"/>
                  </a:solidFill>
                  <a:ea typeface="HG明朝E" panose="02020909000000000000" pitchFamily="17" charset="-128"/>
                  <a:cs typeface="Arial" pitchFamily="34" charset="0"/>
                </a:rPr>
                <a:t>Intermediary / Thing</a:t>
              </a:r>
            </a:p>
          </p:txBody>
        </p:sp>
        <p:sp>
          <p:nvSpPr>
            <p:cNvPr id="125" name="角丸四角形 21">
              <a:extLst>
                <a:ext uri="{FF2B5EF4-FFF2-40B4-BE49-F238E27FC236}">
                  <a16:creationId xmlns:a16="http://schemas.microsoft.com/office/drawing/2014/main" id="{973319BE-2675-C946-BF86-8EB822FB9E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26" name="角丸四角形 21">
              <a:extLst>
                <a:ext uri="{FF2B5EF4-FFF2-40B4-BE49-F238E27FC236}">
                  <a16:creationId xmlns:a16="http://schemas.microsoft.com/office/drawing/2014/main" id="{18B50391-17D6-C645-8F85-0E3A949524F1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27" name="角丸四角形 21">
              <a:extLst>
                <a:ext uri="{FF2B5EF4-FFF2-40B4-BE49-F238E27FC236}">
                  <a16:creationId xmlns:a16="http://schemas.microsoft.com/office/drawing/2014/main" id="{D7BBEBD1-407C-4B4C-BBA8-72AB5088FA85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28" name="角丸四角形 21">
              <a:extLst>
                <a:ext uri="{FF2B5EF4-FFF2-40B4-BE49-F238E27FC236}">
                  <a16:creationId xmlns:a16="http://schemas.microsoft.com/office/drawing/2014/main" id="{16A39CBA-EB30-FC44-A68F-207E224A6C5A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F63C1EDA-0ECD-BF47-8989-738A8C961DD8}"/>
              </a:ext>
            </a:extLst>
          </p:cNvPr>
          <p:cNvGrpSpPr/>
          <p:nvPr/>
        </p:nvGrpSpPr>
        <p:grpSpPr>
          <a:xfrm>
            <a:off x="6448208" y="2264393"/>
            <a:ext cx="1187092" cy="1248038"/>
            <a:chOff x="2123728" y="1196751"/>
            <a:chExt cx="5112568" cy="3431059"/>
          </a:xfrm>
        </p:grpSpPr>
        <p:sp>
          <p:nvSpPr>
            <p:cNvPr id="130" name="角丸四角形 6">
              <a:extLst>
                <a:ext uri="{FF2B5EF4-FFF2-40B4-BE49-F238E27FC236}">
                  <a16:creationId xmlns:a16="http://schemas.microsoft.com/office/drawing/2014/main" id="{CD6401EB-BB5E-7D43-A2D1-775B95757697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mediary / Thing</a:t>
              </a:r>
            </a:p>
          </p:txBody>
        </p:sp>
        <p:sp>
          <p:nvSpPr>
            <p:cNvPr id="131" name="角丸四角形 21">
              <a:extLst>
                <a:ext uri="{FF2B5EF4-FFF2-40B4-BE49-F238E27FC236}">
                  <a16:creationId xmlns:a16="http://schemas.microsoft.com/office/drawing/2014/main" id="{F32588F2-EEEB-B943-B2E3-7B4B2288317B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2" name="角丸四角形 21">
              <a:extLst>
                <a:ext uri="{FF2B5EF4-FFF2-40B4-BE49-F238E27FC236}">
                  <a16:creationId xmlns:a16="http://schemas.microsoft.com/office/drawing/2014/main" id="{65F1B5FA-47A2-3E48-A628-FD86E1CFAA9C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33" name="角丸四角形 21">
              <a:extLst>
                <a:ext uri="{FF2B5EF4-FFF2-40B4-BE49-F238E27FC236}">
                  <a16:creationId xmlns:a16="http://schemas.microsoft.com/office/drawing/2014/main" id="{BA3C6F50-C511-8248-8C01-0FB7545CD3A6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34" name="角丸四角形 21">
              <a:extLst>
                <a:ext uri="{FF2B5EF4-FFF2-40B4-BE49-F238E27FC236}">
                  <a16:creationId xmlns:a16="http://schemas.microsoft.com/office/drawing/2014/main" id="{8D53963A-84D7-FF4D-8E11-37BEF4BCC14B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C6EC4507-C197-A744-A811-4F5F75A27793}"/>
              </a:ext>
            </a:extLst>
          </p:cNvPr>
          <p:cNvGrpSpPr/>
          <p:nvPr/>
        </p:nvGrpSpPr>
        <p:grpSpPr>
          <a:xfrm>
            <a:off x="2078969" y="4670001"/>
            <a:ext cx="1187092" cy="1248038"/>
            <a:chOff x="2123728" y="1196751"/>
            <a:chExt cx="5112568" cy="3431059"/>
          </a:xfrm>
        </p:grpSpPr>
        <p:sp>
          <p:nvSpPr>
            <p:cNvPr id="136" name="角丸四角形 6">
              <a:extLst>
                <a:ext uri="{FF2B5EF4-FFF2-40B4-BE49-F238E27FC236}">
                  <a16:creationId xmlns:a16="http://schemas.microsoft.com/office/drawing/2014/main" id="{B21C993F-DFA1-F843-A4E4-3944810C7D46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3431059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</a:p>
          </p:txBody>
        </p:sp>
        <p:sp>
          <p:nvSpPr>
            <p:cNvPr id="137" name="角丸四角形 21">
              <a:extLst>
                <a:ext uri="{FF2B5EF4-FFF2-40B4-BE49-F238E27FC236}">
                  <a16:creationId xmlns:a16="http://schemas.microsoft.com/office/drawing/2014/main" id="{B1C13162-0A60-EC49-9E1F-1BBA31219019}"/>
                </a:ext>
              </a:extLst>
            </p:cNvPr>
            <p:cNvSpPr/>
            <p:nvPr/>
          </p:nvSpPr>
          <p:spPr bwMode="auto">
            <a:xfrm>
              <a:off x="2267744" y="1725517"/>
              <a:ext cx="4824536" cy="574727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38" name="角丸四角形 21">
              <a:extLst>
                <a:ext uri="{FF2B5EF4-FFF2-40B4-BE49-F238E27FC236}">
                  <a16:creationId xmlns:a16="http://schemas.microsoft.com/office/drawing/2014/main" id="{78EEE6ED-69F8-8742-A5E8-3C4A7E7F56F0}"/>
                </a:ext>
              </a:extLst>
            </p:cNvPr>
            <p:cNvSpPr/>
            <p:nvPr/>
          </p:nvSpPr>
          <p:spPr bwMode="auto">
            <a:xfrm>
              <a:off x="2267744" y="243726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ea typeface="HG明朝E" panose="02020909000000000000" pitchFamily="17" charset="-128"/>
                  <a:cs typeface="Arial" pitchFamily="34" charset="0"/>
                </a:rPr>
                <a:t>Interaction Affordances</a:t>
              </a:r>
            </a:p>
          </p:txBody>
        </p:sp>
        <p:sp>
          <p:nvSpPr>
            <p:cNvPr id="140" name="角丸四角形 21">
              <a:extLst>
                <a:ext uri="{FF2B5EF4-FFF2-40B4-BE49-F238E27FC236}">
                  <a16:creationId xmlns:a16="http://schemas.microsoft.com/office/drawing/2014/main" id="{3B713D4C-8FF0-C04B-BD18-D89526847B57}"/>
                </a:ext>
              </a:extLst>
            </p:cNvPr>
            <p:cNvSpPr/>
            <p:nvPr/>
          </p:nvSpPr>
          <p:spPr bwMode="auto">
            <a:xfrm>
              <a:off x="2267744" y="3891689"/>
              <a:ext cx="4824536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</a:t>
              </a:r>
            </a:p>
          </p:txBody>
        </p:sp>
        <p:sp>
          <p:nvSpPr>
            <p:cNvPr id="141" name="角丸四角形 21">
              <a:extLst>
                <a:ext uri="{FF2B5EF4-FFF2-40B4-BE49-F238E27FC236}">
                  <a16:creationId xmlns:a16="http://schemas.microsoft.com/office/drawing/2014/main" id="{AA0A66D2-4228-7146-80CF-EEFB089763E1}"/>
                </a:ext>
              </a:extLst>
            </p:cNvPr>
            <p:cNvSpPr/>
            <p:nvPr/>
          </p:nvSpPr>
          <p:spPr bwMode="auto">
            <a:xfrm>
              <a:off x="2267744" y="3149018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349" y="5640996"/>
            <a:ext cx="1231261" cy="101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5"/>
          <p:cNvGrpSpPr/>
          <p:nvPr/>
        </p:nvGrpSpPr>
        <p:grpSpPr>
          <a:xfrm>
            <a:off x="3410082" y="4462990"/>
            <a:ext cx="297895" cy="297895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000">
                  <a:latin typeface="+mj-lt"/>
                </a:endParaRPr>
              </a:p>
            </p:txBody>
          </p:sp>
        </p:grpSp>
      </p:grpSp>
      <p:sp>
        <p:nvSpPr>
          <p:cNvPr id="143" name="角丸四角形 6">
            <a:extLst>
              <a:ext uri="{FF2B5EF4-FFF2-40B4-BE49-F238E27FC236}">
                <a16:creationId xmlns:a16="http://schemas.microsoft.com/office/drawing/2014/main" id="{55BF921A-9353-2D43-9B1D-A47484A5B009}"/>
              </a:ext>
            </a:extLst>
          </p:cNvPr>
          <p:cNvSpPr/>
          <p:nvPr/>
        </p:nvSpPr>
        <p:spPr bwMode="auto">
          <a:xfrm>
            <a:off x="4869633" y="4670001"/>
            <a:ext cx="1187092" cy="124803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+ Consumer</a:t>
            </a:r>
          </a:p>
        </p:txBody>
      </p:sp>
      <p:sp>
        <p:nvSpPr>
          <p:cNvPr id="144" name="角丸四角形 21">
            <a:extLst>
              <a:ext uri="{FF2B5EF4-FFF2-40B4-BE49-F238E27FC236}">
                <a16:creationId xmlns:a16="http://schemas.microsoft.com/office/drawing/2014/main" id="{513DA581-6DB1-2945-88D1-2CF82017020F}"/>
              </a:ext>
            </a:extLst>
          </p:cNvPr>
          <p:cNvSpPr/>
          <p:nvPr/>
        </p:nvSpPr>
        <p:spPr bwMode="auto">
          <a:xfrm>
            <a:off x="4903072" y="4862338"/>
            <a:ext cx="1120214" cy="209055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145" name="角丸四角形 21">
            <a:extLst>
              <a:ext uri="{FF2B5EF4-FFF2-40B4-BE49-F238E27FC236}">
                <a16:creationId xmlns:a16="http://schemas.microsoft.com/office/drawing/2014/main" id="{D3B29F63-4207-7741-B522-E9963423A061}"/>
              </a:ext>
            </a:extLst>
          </p:cNvPr>
          <p:cNvSpPr/>
          <p:nvPr/>
        </p:nvSpPr>
        <p:spPr bwMode="auto">
          <a:xfrm>
            <a:off x="4903073" y="5121236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146" name="角丸四角形 21">
            <a:extLst>
              <a:ext uri="{FF2B5EF4-FFF2-40B4-BE49-F238E27FC236}">
                <a16:creationId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4903072" y="5650277"/>
            <a:ext cx="112021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147" name="角丸四角形 21">
            <a:extLst>
              <a:ext uri="{FF2B5EF4-FFF2-40B4-BE49-F238E27FC236}">
                <a16:creationId xmlns:a16="http://schemas.microsoft.com/office/drawing/2014/main" id="{2AAC67D1-2616-0944-9EC9-BB9BD46EA713}"/>
              </a:ext>
            </a:extLst>
          </p:cNvPr>
          <p:cNvSpPr/>
          <p:nvPr/>
        </p:nvSpPr>
        <p:spPr bwMode="auto">
          <a:xfrm>
            <a:off x="4903073" y="5380133"/>
            <a:ext cx="1120213" cy="209055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157" name="角丸四角形 21">
            <a:extLst>
              <a:ext uri="{FF2B5EF4-FFF2-40B4-BE49-F238E27FC236}">
                <a16:creationId xmlns:a16="http://schemas.microsoft.com/office/drawing/2014/main" id="{618022E1-44C2-5B40-A458-32F256A48EA1}"/>
              </a:ext>
            </a:extLst>
          </p:cNvPr>
          <p:cNvSpPr/>
          <p:nvPr/>
        </p:nvSpPr>
        <p:spPr bwMode="auto">
          <a:xfrm>
            <a:off x="7752972" y="5663009"/>
            <a:ext cx="1016884" cy="209055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8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A303AC7-012B-8B4B-B903-45540DFF9BEE}"/>
              </a:ext>
            </a:extLst>
          </p:cNvPr>
          <p:cNvGrpSpPr/>
          <p:nvPr/>
        </p:nvGrpSpPr>
        <p:grpSpPr>
          <a:xfrm>
            <a:off x="127789" y="3545144"/>
            <a:ext cx="1187092" cy="976123"/>
            <a:chOff x="2123728" y="1196751"/>
            <a:chExt cx="5112568" cy="2683521"/>
          </a:xfrm>
        </p:grpSpPr>
        <p:sp>
          <p:nvSpPr>
            <p:cNvPr id="149" name="角丸四角形 6">
              <a:extLst>
                <a:ext uri="{FF2B5EF4-FFF2-40B4-BE49-F238E27FC236}">
                  <a16:creationId xmlns:a16="http://schemas.microsoft.com/office/drawing/2014/main" id="{98276D38-9565-274C-AC17-74BB704AFC3C}"/>
                </a:ext>
              </a:extLst>
            </p:cNvPr>
            <p:cNvSpPr/>
            <p:nvPr/>
          </p:nvSpPr>
          <p:spPr bwMode="auto">
            <a:xfrm>
              <a:off x="2123728" y="1196751"/>
              <a:ext cx="5112568" cy="2683521"/>
            </a:xfrm>
            <a:prstGeom prst="roundRect">
              <a:avLst>
                <a:gd name="adj" fmla="val 5032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1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r</a:t>
              </a:r>
            </a:p>
          </p:txBody>
        </p:sp>
        <p:sp>
          <p:nvSpPr>
            <p:cNvPr id="150" name="角丸四角形 21">
              <a:extLst>
                <a:ext uri="{FF2B5EF4-FFF2-40B4-BE49-F238E27FC236}">
                  <a16:creationId xmlns:a16="http://schemas.microsoft.com/office/drawing/2014/main" id="{14E6276F-6F6F-184D-8D5B-C12FA289E94B}"/>
                </a:ext>
              </a:extLst>
            </p:cNvPr>
            <p:cNvSpPr/>
            <p:nvPr/>
          </p:nvSpPr>
          <p:spPr bwMode="auto">
            <a:xfrm>
              <a:off x="2267743" y="1772945"/>
              <a:ext cx="4824538" cy="574726"/>
            </a:xfrm>
            <a:prstGeom prst="roundRect">
              <a:avLst>
                <a:gd name="adj" fmla="val 23727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schemeClr val="bg1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</a:t>
              </a:r>
            </a:p>
          </p:txBody>
        </p:sp>
        <p:sp>
          <p:nvSpPr>
            <p:cNvPr id="152" name="角丸四角形 21">
              <a:extLst>
                <a:ext uri="{FF2B5EF4-FFF2-40B4-BE49-F238E27FC236}">
                  <a16:creationId xmlns:a16="http://schemas.microsoft.com/office/drawing/2014/main" id="{AB4A9856-BA9D-8F4D-A23B-0B0A72F44B07}"/>
                </a:ext>
              </a:extLst>
            </p:cNvPr>
            <p:cNvSpPr/>
            <p:nvPr/>
          </p:nvSpPr>
          <p:spPr bwMode="auto">
            <a:xfrm>
              <a:off x="2267743" y="3179717"/>
              <a:ext cx="4824538" cy="574726"/>
            </a:xfrm>
            <a:prstGeom prst="roundRect">
              <a:avLst>
                <a:gd name="adj" fmla="val 25105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Protocol Bindings</a:t>
              </a:r>
            </a:p>
          </p:txBody>
        </p:sp>
        <p:sp>
          <p:nvSpPr>
            <p:cNvPr id="153" name="角丸四角形 21">
              <a:extLst>
                <a:ext uri="{FF2B5EF4-FFF2-40B4-BE49-F238E27FC236}">
                  <a16:creationId xmlns:a16="http://schemas.microsoft.com/office/drawing/2014/main" id="{5914EDE6-D2AE-FE4D-B79B-302B9E273BE3}"/>
                </a:ext>
              </a:extLst>
            </p:cNvPr>
            <p:cNvSpPr/>
            <p:nvPr/>
          </p:nvSpPr>
          <p:spPr bwMode="auto">
            <a:xfrm>
              <a:off x="2267743" y="2460761"/>
              <a:ext cx="4824534" cy="574726"/>
            </a:xfrm>
            <a:prstGeom prst="roundRect">
              <a:avLst>
                <a:gd name="adj" fmla="val 25084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800" kern="0" dirty="0">
                  <a:latin typeface="+mj-lt"/>
                  <a:ea typeface="HG明朝E" panose="02020909000000000000" pitchFamily="17" charset="-128"/>
                  <a:cs typeface="Arial" pitchFamily="34" charset="0"/>
                </a:rPr>
                <a:t>Security Configuration</a:t>
              </a:r>
            </a:p>
          </p:txBody>
        </p:sp>
      </p:grpSp>
      <p:sp>
        <p:nvSpPr>
          <p:cNvPr id="154" name="Textfeld 181"/>
          <p:cNvSpPr txBox="1"/>
          <p:nvPr/>
        </p:nvSpPr>
        <p:spPr>
          <a:xfrm>
            <a:off x="7617271" y="6198007"/>
            <a:ext cx="12882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Local Network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41" y="2918914"/>
            <a:ext cx="468632" cy="683026"/>
          </a:xfrm>
          <a:prstGeom prst="rect">
            <a:avLst/>
          </a:prstGeom>
        </p:spPr>
      </p:pic>
      <p:cxnSp>
        <p:nvCxnSpPr>
          <p:cNvPr id="155" name="Gerade Verbindung mit Pfeil 59"/>
          <p:cNvCxnSpPr>
            <a:cxnSpLocks/>
          </p:cNvCxnSpPr>
          <p:nvPr/>
        </p:nvCxnSpPr>
        <p:spPr bwMode="auto">
          <a:xfrm flipH="1" flipV="1">
            <a:off x="4747513" y="4722024"/>
            <a:ext cx="121145" cy="462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6" name="Gerade Verbindung mit Pfeil 59"/>
          <p:cNvCxnSpPr>
            <a:cxnSpLocks/>
          </p:cNvCxnSpPr>
          <p:nvPr/>
        </p:nvCxnSpPr>
        <p:spPr bwMode="auto">
          <a:xfrm flipV="1">
            <a:off x="3263812" y="4661337"/>
            <a:ext cx="129027" cy="7847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5260" y="4890225"/>
            <a:ext cx="925970" cy="925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8" name="Group 42"/>
          <p:cNvGrpSpPr/>
          <p:nvPr/>
        </p:nvGrpSpPr>
        <p:grpSpPr>
          <a:xfrm>
            <a:off x="1834142" y="2578647"/>
            <a:ext cx="297895" cy="297895"/>
            <a:chOff x="6235706" y="4922175"/>
            <a:chExt cx="268034" cy="268034"/>
          </a:xfrm>
        </p:grpSpPr>
        <p:sp>
          <p:nvSpPr>
            <p:cNvPr id="15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4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6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65" name="Gerade Verbindung mit Pfeil 90"/>
          <p:cNvCxnSpPr>
            <a:cxnSpLocks/>
          </p:cNvCxnSpPr>
          <p:nvPr/>
        </p:nvCxnSpPr>
        <p:spPr bwMode="auto">
          <a:xfrm flipH="1">
            <a:off x="2132037" y="2661314"/>
            <a:ext cx="162247" cy="826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図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166" y="5892170"/>
            <a:ext cx="1349680" cy="679661"/>
          </a:xfrm>
          <a:prstGeom prst="rect">
            <a:avLst/>
          </a:prstGeom>
        </p:spPr>
      </p:pic>
      <p:sp>
        <p:nvSpPr>
          <p:cNvPr id="166" name="Textfeld 163"/>
          <p:cNvSpPr txBox="1"/>
          <p:nvPr/>
        </p:nvSpPr>
        <p:spPr>
          <a:xfrm>
            <a:off x="3031667" y="3657671"/>
            <a:ext cx="12697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cloud</a:t>
            </a:r>
          </a:p>
        </p:txBody>
      </p:sp>
      <p:sp>
        <p:nvSpPr>
          <p:cNvPr id="167" name="Textfeld 163"/>
          <p:cNvSpPr txBox="1"/>
          <p:nvPr/>
        </p:nvSpPr>
        <p:spPr>
          <a:xfrm>
            <a:off x="5220072" y="3842056"/>
            <a:ext cx="14795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Thing-to-gateway</a:t>
            </a:r>
          </a:p>
        </p:txBody>
      </p:sp>
    </p:spTree>
    <p:extLst>
      <p:ext uri="{BB962C8B-B14F-4D97-AF65-F5344CB8AC3E}">
        <p14:creationId xmlns:p14="http://schemas.microsoft.com/office/powerpoint/2010/main" val="3064403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6"/>
          <p:cNvSpPr/>
          <p:nvPr/>
        </p:nvSpPr>
        <p:spPr bwMode="auto">
          <a:xfrm>
            <a:off x="4139952" y="1340768"/>
            <a:ext cx="3533462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" name="角丸四角形 21"/>
          <p:cNvSpPr/>
          <p:nvPr/>
        </p:nvSpPr>
        <p:spPr bwMode="auto">
          <a:xfrm>
            <a:off x="4260326" y="1869533"/>
            <a:ext cx="329271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4260326" y="258128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4260326" y="4035705"/>
            <a:ext cx="329271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(s)</a:t>
            </a:r>
          </a:p>
        </p:txBody>
      </p:sp>
      <p:sp>
        <p:nvSpPr>
          <p:cNvPr id="8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4260326" y="3293034"/>
            <a:ext cx="329271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1596099" y="2521978"/>
            <a:ext cx="2015490" cy="2127680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b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2104259" y="2621181"/>
            <a:ext cx="999169" cy="1031927"/>
            <a:chOff x="1789088" y="2720452"/>
            <a:chExt cx="413417" cy="426971"/>
          </a:xfrm>
        </p:grpSpPr>
        <p:sp>
          <p:nvSpPr>
            <p:cNvPr id="11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76200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2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762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7" name="Left Brace 16"/>
          <p:cNvSpPr/>
          <p:nvPr/>
        </p:nvSpPr>
        <p:spPr>
          <a:xfrm>
            <a:off x="3721101" y="2527051"/>
            <a:ext cx="288032" cy="2117535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75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71703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81176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9"/>
            <a:ext cx="5112568" cy="2766123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3995936" y="1119634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5936" y="2587495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5936" y="1844824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1075052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B8C3D093-79A1-4CA8-98F1-6C58606284E5}"/>
              </a:ext>
            </a:extLst>
          </p:cNvPr>
          <p:cNvSpPr/>
          <p:nvPr/>
        </p:nvSpPr>
        <p:spPr bwMode="auto">
          <a:xfrm>
            <a:off x="3851920" y="590868"/>
            <a:ext cx="5112568" cy="3918252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8" name="Abgerundetes Rechteck 31">
            <a:extLst>
              <a:ext uri="{FF2B5EF4-FFF2-40B4-BE49-F238E27FC236}">
                <a16:creationId xmlns:a16="http://schemas.microsoft.com/office/drawing/2014/main" id="{5E9B36EA-D4B0-4C2F-8BCA-4C3DF1CC5772}"/>
              </a:ext>
            </a:extLst>
          </p:cNvPr>
          <p:cNvSpPr/>
          <p:nvPr/>
        </p:nvSpPr>
        <p:spPr>
          <a:xfrm>
            <a:off x="3995936" y="1153167"/>
            <a:ext cx="4824536" cy="1682689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dirty="0"/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73665" y="1527438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08590" y="2038480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08590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11301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6443" y="3645024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32289" y="2835856"/>
            <a:ext cx="0" cy="809168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51" name="Down Arrow 40">
            <a:extLst>
              <a:ext uri="{FF2B5EF4-FFF2-40B4-BE49-F238E27FC236}">
                <a16:creationId xmlns:a16="http://schemas.microsoft.com/office/drawing/2014/main" id="{F80BA96A-1FBB-4256-A846-53C94C005AAF}"/>
              </a:ext>
            </a:extLst>
          </p:cNvPr>
          <p:cNvSpPr/>
          <p:nvPr/>
        </p:nvSpPr>
        <p:spPr>
          <a:xfrm rot="16200000">
            <a:off x="3490863" y="2078881"/>
            <a:ext cx="367630" cy="388879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8FD4684C-EC35-4B2E-896B-C1E59A1C2056}"/>
              </a:ext>
            </a:extLst>
          </p:cNvPr>
          <p:cNvSpPr/>
          <p:nvPr/>
        </p:nvSpPr>
        <p:spPr bwMode="auto">
          <a:xfrm>
            <a:off x="4427984" y="1340270"/>
            <a:ext cx="3960440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 Implementation</a:t>
            </a: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E63F688E-CD2B-42D3-8BD0-5A7E9AB11C9F}"/>
              </a:ext>
            </a:extLst>
          </p:cNvPr>
          <p:cNvSpPr/>
          <p:nvPr/>
        </p:nvSpPr>
        <p:spPr bwMode="auto">
          <a:xfrm>
            <a:off x="3996003" y="3739623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6B799C4B-49A9-4069-82D7-D5A45B03E29B}"/>
              </a:ext>
            </a:extLst>
          </p:cNvPr>
          <p:cNvSpPr/>
          <p:nvPr/>
        </p:nvSpPr>
        <p:spPr bwMode="auto">
          <a:xfrm>
            <a:off x="3996003" y="2996952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6" name="角丸四角形 21">
            <a:extLst>
              <a:ext uri="{FF2B5EF4-FFF2-40B4-BE49-F238E27FC236}">
                <a16:creationId xmlns:a16="http://schemas.microsoft.com/office/drawing/2014/main" id="{3A52D4AC-EC3C-424F-8971-8A818C7DE704}"/>
              </a:ext>
            </a:extLst>
          </p:cNvPr>
          <p:cNvSpPr/>
          <p:nvPr/>
        </p:nvSpPr>
        <p:spPr bwMode="auto">
          <a:xfrm>
            <a:off x="4427984" y="2060848"/>
            <a:ext cx="3960440" cy="574727"/>
          </a:xfrm>
          <a:prstGeom prst="roundRect">
            <a:avLst>
              <a:gd name="adj" fmla="val 23727"/>
            </a:avLst>
          </a:prstGeom>
          <a:solidFill>
            <a:schemeClr val="tx2">
              <a:lumMod val="60000"/>
              <a:lumOff val="40000"/>
            </a:schemeClr>
          </a:solidFill>
          <a:ln w="635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err="1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cripting API</a:t>
            </a:r>
          </a:p>
        </p:txBody>
      </p:sp>
    </p:spTree>
    <p:extLst>
      <p:ext uri="{BB962C8B-B14F-4D97-AF65-F5344CB8AC3E}">
        <p14:creationId xmlns:p14="http://schemas.microsoft.com/office/powerpoint/2010/main" val="208922102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57085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96542"/>
            <a:ext cx="1937231" cy="66461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490616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2957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134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09088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85219" y="525219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08984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1245" y="605934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36960" y="568941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13092" y="568941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65353" y="568406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2853" y="606219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85115" y="605934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89223" y="568691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09257" y="371685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6068544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421090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4170714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226627"/>
            <a:ext cx="1937231" cy="73453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30" name="角丸四角形 21"/>
          <p:cNvSpPr/>
          <p:nvPr/>
        </p:nvSpPr>
        <p:spPr bwMode="auto">
          <a:xfrm>
            <a:off x="3988941" y="5001496"/>
            <a:ext cx="4824536" cy="450262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08902" y="4365104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44214" y="3681900"/>
            <a:ext cx="1918784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own Arrow 40"/>
          <p:cNvSpPr/>
          <p:nvPr/>
        </p:nvSpPr>
        <p:spPr>
          <a:xfrm rot="5400000">
            <a:off x="3499723" y="1851361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F9102E-23F8-41EA-9E44-BAA6A17D4636}"/>
              </a:ext>
            </a:extLst>
          </p:cNvPr>
          <p:cNvGrpSpPr/>
          <p:nvPr/>
        </p:nvGrpSpPr>
        <p:grpSpPr>
          <a:xfrm>
            <a:off x="4068705" y="1124744"/>
            <a:ext cx="4665008" cy="3112806"/>
            <a:chOff x="4068705" y="1613992"/>
            <a:chExt cx="4665008" cy="3112806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62CC09D5-1E1F-4EE9-9F38-AAE54B5635DC}"/>
                </a:ext>
              </a:extLst>
            </p:cNvPr>
            <p:cNvSpPr/>
            <p:nvPr/>
          </p:nvSpPr>
          <p:spPr>
            <a:xfrm>
              <a:off x="4068705" y="1613992"/>
              <a:ext cx="4665008" cy="3112806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Scripting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8902" y="4165935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69" name="角丸四角形 21">
              <a:extLst>
                <a:ext uri="{FF2B5EF4-FFF2-40B4-BE49-F238E27FC236}">
                  <a16:creationId xmlns:a16="http://schemas.microsoft.com/office/drawing/2014/main" id="{84262F58-1F30-41C4-B6AC-75798C69153D}"/>
                </a:ext>
              </a:extLst>
            </p:cNvPr>
            <p:cNvSpPr/>
            <p:nvPr/>
          </p:nvSpPr>
          <p:spPr bwMode="auto">
            <a:xfrm>
              <a:off x="4608323" y="3284984"/>
              <a:ext cx="357106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ExposedThing</a:t>
              </a:r>
              <a:endPara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47" name="角丸四角形 21">
              <a:extLst>
                <a:ext uri="{FF2B5EF4-FFF2-40B4-BE49-F238E27FC236}">
                  <a16:creationId xmlns:a16="http://schemas.microsoft.com/office/drawing/2014/main" id="{861CB99D-410D-426D-B059-AA8633A66177}"/>
                </a:ext>
              </a:extLst>
            </p:cNvPr>
            <p:cNvSpPr/>
            <p:nvPr/>
          </p:nvSpPr>
          <p:spPr bwMode="auto">
            <a:xfrm>
              <a:off x="4603169" y="3695882"/>
              <a:ext cx="1007221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62" name="角丸四角形 6">
              <a:extLst>
                <a:ext uri="{FF2B5EF4-FFF2-40B4-BE49-F238E27FC236}">
                  <a16:creationId xmlns:a16="http://schemas.microsoft.com/office/drawing/2014/main" id="{A6766D2C-AC2F-4891-8F25-5563E71FA7D4}"/>
                </a:ext>
              </a:extLst>
            </p:cNvPr>
            <p:cNvSpPr/>
            <p:nvPr/>
          </p:nvSpPr>
          <p:spPr bwMode="auto">
            <a:xfrm>
              <a:off x="6767253" y="3644934"/>
              <a:ext cx="348349" cy="387424"/>
            </a:xfrm>
            <a:prstGeom prst="roundRect">
              <a:avLst>
                <a:gd name="adj" fmla="val 27876"/>
              </a:avLst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50800" dir="2700000" rotWithShape="0">
                <a:srgbClr val="000000">
                  <a:alpha val="30000"/>
                </a:srgbClr>
              </a:outerShdw>
            </a:effectLst>
            <a:extLst/>
          </p:spPr>
          <p:txBody>
            <a:bodyPr vert="horz" wrap="none" lIns="91440" tIns="36000" rIns="9144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kumimoji="0" lang="en-US" altLang="ja-JP" sz="140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…</a:t>
              </a:r>
            </a:p>
          </p:txBody>
        </p:sp>
        <p:sp>
          <p:nvSpPr>
            <p:cNvPr id="88" name="角丸四角形 21">
              <a:extLst>
                <a:ext uri="{FF2B5EF4-FFF2-40B4-BE49-F238E27FC236}">
                  <a16:creationId xmlns:a16="http://schemas.microsoft.com/office/drawing/2014/main" id="{E2474AFA-A3F1-4805-8E94-D521AF5639C6}"/>
                </a:ext>
              </a:extLst>
            </p:cNvPr>
            <p:cNvSpPr/>
            <p:nvPr/>
          </p:nvSpPr>
          <p:spPr bwMode="auto">
            <a:xfrm>
              <a:off x="5690255" y="3694382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89" name="角丸四角形 21">
              <a:extLst>
                <a:ext uri="{FF2B5EF4-FFF2-40B4-BE49-F238E27FC236}">
                  <a16:creationId xmlns:a16="http://schemas.microsoft.com/office/drawing/2014/main" id="{4AE251D0-6D8F-4EB6-9DC4-98B2CAD0DCF2}"/>
                </a:ext>
              </a:extLst>
            </p:cNvPr>
            <p:cNvSpPr/>
            <p:nvPr/>
          </p:nvSpPr>
          <p:spPr bwMode="auto">
            <a:xfrm>
              <a:off x="7174686" y="3683498"/>
              <a:ext cx="997133" cy="357098"/>
            </a:xfrm>
            <a:prstGeom prst="roundRect">
              <a:avLst>
                <a:gd name="adj" fmla="val 25084"/>
              </a:avLst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100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ConsumedThing</a:t>
              </a:r>
              <a:endParaRPr lang="en-US" altLang="ja-JP" sz="11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0" name="縦巻き 49"/>
            <p:cNvSpPr/>
            <p:nvPr/>
          </p:nvSpPr>
          <p:spPr bwMode="auto">
            <a:xfrm>
              <a:off x="4314906" y="2076601"/>
              <a:ext cx="4150049" cy="1040477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22191" y="2463402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13A8057-7D26-408A-B133-8DB859E1D51F}"/>
              </a:ext>
            </a:extLst>
          </p:cNvPr>
          <p:cNvSpPr txBox="1"/>
          <p:nvPr/>
        </p:nvSpPr>
        <p:spPr>
          <a:xfrm>
            <a:off x="5693818" y="1681063"/>
            <a:ext cx="1467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plication Script</a:t>
            </a:r>
          </a:p>
        </p:txBody>
      </p:sp>
    </p:spTree>
    <p:extLst>
      <p:ext uri="{BB962C8B-B14F-4D97-AF65-F5344CB8AC3E}">
        <p14:creationId xmlns:p14="http://schemas.microsoft.com/office/powerpoint/2010/main" val="37051463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: </a:t>
            </a:r>
            <a:r>
              <a:rPr kumimoji="0" lang="en-US" altLang="ja-JP" sz="20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Servient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62876"/>
            <a:ext cx="4824536" cy="363022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56FAD2A-278E-4818-9590-55E8D075BE0F}"/>
              </a:ext>
            </a:extLst>
          </p:cNvPr>
          <p:cNvGrpSpPr/>
          <p:nvPr/>
        </p:nvGrpSpPr>
        <p:grpSpPr>
          <a:xfrm>
            <a:off x="4068705" y="1203459"/>
            <a:ext cx="4665008" cy="2441565"/>
            <a:chOff x="4068705" y="1736662"/>
            <a:chExt cx="4665008" cy="2441565"/>
          </a:xfrm>
        </p:grpSpPr>
        <p:sp>
          <p:nvSpPr>
            <p:cNvPr id="56" name="Abgerundetes Rechteck 31">
              <a:extLst>
                <a:ext uri="{FF2B5EF4-FFF2-40B4-BE49-F238E27FC236}">
                  <a16:creationId xmlns:a16="http://schemas.microsoft.com/office/drawing/2014/main" id="{1D0FD93D-898B-4FCD-90EB-B203C475C896}"/>
                </a:ext>
              </a:extLst>
            </p:cNvPr>
            <p:cNvSpPr/>
            <p:nvPr/>
          </p:nvSpPr>
          <p:spPr>
            <a:xfrm>
              <a:off x="4068705" y="1736662"/>
              <a:ext cx="4665008" cy="2441565"/>
            </a:xfrm>
            <a:prstGeom prst="roundRect">
              <a:avLst>
                <a:gd name="adj" fmla="val 10302"/>
              </a:avLst>
            </a:prstGeom>
            <a:solidFill>
              <a:schemeClr val="accent1">
                <a:lumMod val="75000"/>
              </a:schemeClr>
            </a:solidFill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dirty="0"/>
                <a:t>Alternative Language Runtime</a:t>
              </a:r>
            </a:p>
          </p:txBody>
        </p:sp>
        <p:sp>
          <p:nvSpPr>
            <p:cNvPr id="31" name="角丸四角形 21"/>
            <p:cNvSpPr/>
            <p:nvPr/>
          </p:nvSpPr>
          <p:spPr bwMode="auto">
            <a:xfrm>
              <a:off x="4604379" y="3596766"/>
              <a:ext cx="3581685" cy="415193"/>
            </a:xfrm>
            <a:prstGeom prst="roundRect">
              <a:avLst>
                <a:gd name="adj" fmla="val 25000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Alternative </a:t>
              </a:r>
              <a:r>
                <a:rPr lang="en-US" altLang="ja-JP" kern="0" dirty="0" err="1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WoT</a:t>
              </a: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 API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1B2DD-6F61-441E-982E-AD2D835EB753}"/>
                </a:ext>
              </a:extLst>
            </p:cNvPr>
            <p:cNvGrpSpPr/>
            <p:nvPr/>
          </p:nvGrpSpPr>
          <p:grpSpPr>
            <a:xfrm>
              <a:off x="4598646" y="2708920"/>
              <a:ext cx="3576217" cy="767996"/>
              <a:chOff x="4598646" y="1613552"/>
              <a:chExt cx="3576217" cy="767996"/>
            </a:xfrm>
          </p:grpSpPr>
          <p:sp>
            <p:nvSpPr>
              <p:cNvPr id="69" name="角丸四角形 21">
                <a:extLst>
                  <a:ext uri="{FF2B5EF4-FFF2-40B4-BE49-F238E27FC236}">
                    <a16:creationId xmlns:a16="http://schemas.microsoft.com/office/drawing/2014/main" id="{84262F58-1F30-41C4-B6AC-75798C69153D}"/>
                  </a:ext>
                </a:extLst>
              </p:cNvPr>
              <p:cNvSpPr/>
              <p:nvPr/>
            </p:nvSpPr>
            <p:spPr bwMode="auto">
              <a:xfrm>
                <a:off x="4603800" y="1613552"/>
                <a:ext cx="357106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ExposedThing</a:t>
                </a:r>
                <a:endPara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47" name="角丸四角形 21">
                <a:extLst>
                  <a:ext uri="{FF2B5EF4-FFF2-40B4-BE49-F238E27FC236}">
                    <a16:creationId xmlns:a16="http://schemas.microsoft.com/office/drawing/2014/main" id="{861CB99D-410D-426D-B059-AA8633A66177}"/>
                  </a:ext>
                </a:extLst>
              </p:cNvPr>
              <p:cNvSpPr/>
              <p:nvPr/>
            </p:nvSpPr>
            <p:spPr bwMode="auto">
              <a:xfrm>
                <a:off x="4598646" y="2024450"/>
                <a:ext cx="1007221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62" name="角丸四角形 6">
                <a:extLst>
                  <a:ext uri="{FF2B5EF4-FFF2-40B4-BE49-F238E27FC236}">
                    <a16:creationId xmlns:a16="http://schemas.microsoft.com/office/drawing/2014/main" id="{A6766D2C-AC2F-4891-8F25-5563E71FA7D4}"/>
                  </a:ext>
                </a:extLst>
              </p:cNvPr>
              <p:cNvSpPr/>
              <p:nvPr/>
            </p:nvSpPr>
            <p:spPr bwMode="auto">
              <a:xfrm>
                <a:off x="6762730" y="1973502"/>
                <a:ext cx="348349" cy="387424"/>
              </a:xfrm>
              <a:prstGeom prst="roundRect">
                <a:avLst>
                  <a:gd name="adj" fmla="val 27876"/>
                </a:avLst>
              </a:prstGeom>
              <a:no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76200" dist="50800" dir="2700000" rotWithShape="0">
                  <a:srgbClr val="000000">
                    <a:alpha val="30000"/>
                  </a:srgbClr>
                </a:outerShdw>
              </a:effectLst>
              <a:extLst/>
            </p:spPr>
            <p:txBody>
              <a:bodyPr vert="horz" wrap="none" lIns="91440" tIns="36000" rIns="9144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fontAlgn="ctr">
                  <a:defRPr/>
                </a:pPr>
                <a:r>
                  <a:rPr kumimoji="0" lang="en-US" altLang="ja-JP" sz="140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…</a:t>
                </a:r>
              </a:p>
            </p:txBody>
          </p:sp>
          <p:sp>
            <p:nvSpPr>
              <p:cNvPr id="88" name="角丸四角形 21">
                <a:extLst>
                  <a:ext uri="{FF2B5EF4-FFF2-40B4-BE49-F238E27FC236}">
                    <a16:creationId xmlns:a16="http://schemas.microsoft.com/office/drawing/2014/main" id="{E2474AFA-A3F1-4805-8E94-D521AF5639C6}"/>
                  </a:ext>
                </a:extLst>
              </p:cNvPr>
              <p:cNvSpPr/>
              <p:nvPr/>
            </p:nvSpPr>
            <p:spPr bwMode="auto">
              <a:xfrm>
                <a:off x="5685732" y="2022950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sp>
            <p:nvSpPr>
              <p:cNvPr id="89" name="角丸四角形 21">
                <a:extLst>
                  <a:ext uri="{FF2B5EF4-FFF2-40B4-BE49-F238E27FC236}">
                    <a16:creationId xmlns:a16="http://schemas.microsoft.com/office/drawing/2014/main" id="{4AE251D0-6D8F-4EB6-9DC4-98B2CAD0DCF2}"/>
                  </a:ext>
                </a:extLst>
              </p:cNvPr>
              <p:cNvSpPr/>
              <p:nvPr/>
            </p:nvSpPr>
            <p:spPr bwMode="auto">
              <a:xfrm>
                <a:off x="7170163" y="2012066"/>
                <a:ext cx="997133" cy="357098"/>
              </a:xfrm>
              <a:prstGeom prst="roundRect">
                <a:avLst>
                  <a:gd name="adj" fmla="val 25084"/>
                </a:avLst>
              </a:prstGeom>
              <a:solidFill>
                <a:schemeClr val="accent2">
                  <a:lumMod val="7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100" kern="0" dirty="0" err="1">
                    <a:solidFill>
                      <a:prstClr val="white"/>
                    </a:solidFill>
                    <a:latin typeface="+mj-lt"/>
                    <a:ea typeface="HG明朝E" panose="02020909000000000000" pitchFamily="17" charset="-128"/>
                    <a:cs typeface="Arial" pitchFamily="34" charset="0"/>
                  </a:rPr>
                  <a:t>ConsumedThing</a:t>
                </a:r>
                <a:endParaRPr lang="en-US" altLang="ja-JP" sz="1100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</p:grpSp>
        <p:sp>
          <p:nvSpPr>
            <p:cNvPr id="51" name="角丸四角形 21">
              <a:extLst>
                <a:ext uri="{FF2B5EF4-FFF2-40B4-BE49-F238E27FC236}">
                  <a16:creationId xmlns:a16="http://schemas.microsoft.com/office/drawing/2014/main" id="{858B7A7E-4162-4B20-8BC7-8A1BD2FA9D36}"/>
                </a:ext>
              </a:extLst>
            </p:cNvPr>
            <p:cNvSpPr/>
            <p:nvPr/>
          </p:nvSpPr>
          <p:spPr bwMode="auto">
            <a:xfrm>
              <a:off x="4617668" y="2279814"/>
              <a:ext cx="3571064" cy="357098"/>
            </a:xfrm>
            <a:prstGeom prst="roundRect">
              <a:avLst>
                <a:gd name="adj" fmla="val 25084"/>
              </a:avLst>
            </a:prstGeom>
            <a:solidFill>
              <a:schemeClr val="tx2">
                <a:lumMod val="5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kern="0" dirty="0">
                  <a:solidFill>
                    <a:prstClr val="white"/>
                  </a:solidFill>
                  <a:latin typeface="+mj-lt"/>
                  <a:ea typeface="HG明朝E" panose="02020909000000000000" pitchFamily="17" charset="-128"/>
                  <a:cs typeface="Arial" pitchFamily="34" charset="0"/>
                </a:rPr>
                <a:t>Behavior Implementation</a:t>
              </a:r>
            </a:p>
          </p:txBody>
        </p:sp>
      </p:grpSp>
      <p:sp>
        <p:nvSpPr>
          <p:cNvPr id="54" name="角丸四角形 21">
            <a:extLst>
              <a:ext uri="{FF2B5EF4-FFF2-40B4-BE49-F238E27FC236}">
                <a16:creationId xmlns:a16="http://schemas.microsoft.com/office/drawing/2014/main" id="{26AAC35A-3BDE-425E-8914-7D57548C801E}"/>
              </a:ext>
            </a:extLst>
          </p:cNvPr>
          <p:cNvSpPr/>
          <p:nvPr/>
        </p:nvSpPr>
        <p:spPr bwMode="auto">
          <a:xfrm>
            <a:off x="4605005" y="3789040"/>
            <a:ext cx="3568651" cy="367631"/>
          </a:xfrm>
          <a:prstGeom prst="roundRect">
            <a:avLst>
              <a:gd name="adj" fmla="val 22715"/>
            </a:avLst>
          </a:prstGeom>
          <a:solidFill>
            <a:srgbClr val="FFFF00"/>
          </a:solidFill>
          <a:ln w="254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36248791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0</TotalTime>
  <Words>1286</Words>
  <Application>Microsoft Office PowerPoint</Application>
  <PresentationFormat>On-screen Show (4:3)</PresentationFormat>
  <Paragraphs>624</Paragraphs>
  <Slides>24</Slides>
  <Notes>20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118</cp:revision>
  <cp:lastPrinted>2017-08-07T13:47:57Z</cp:lastPrinted>
  <dcterms:created xsi:type="dcterms:W3CDTF">2017-08-07T12:37:27Z</dcterms:created>
  <dcterms:modified xsi:type="dcterms:W3CDTF">2019-04-25T08:3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4-25 08:33:53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54883468</vt:lpwstr>
  </property>
</Properties>
</file>